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67-43FD-A754-35F4964E79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67-43FD-A754-35F4964E79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tickLblSkip val="1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54-4510-894C-1FF0F46F07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54-4510-894C-1FF0F46F0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tickLblSkip val="1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4D14E6-9B4D-ADE5-DB31-9FA6F6AF7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A519A1-00BE-F774-BF4F-B4419F93A2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A519A1-00BE-F774-BF4F-B4419F93A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6982AD86-5417-568B-6BFE-9EE4BD3EB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Area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BB1982-704D-A1CB-B482-D222483D0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22454F7-1167-40AB-6E12-FE214F1943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459170D-9BA2-DB10-390F-2431385284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6888DF3-F6FB-AF81-1357-4CB55F25D8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6612B302-4658-A6B1-A0AB-0E3C5B7C9FE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/>
        <p:txBody>
          <a:bodyPr/>
          <a:lstStyle/>
          <a:p>
            <a:endParaRPr lang="en-PH"/>
          </a:p>
        </p:txBody>
      </p:sp>
      <p:graphicFrame>
        <p:nvGraphicFramePr>
          <p:cNvPr id="15" name="Chart Placeholder 9">
            <a:extLst>
              <a:ext uri="{FF2B5EF4-FFF2-40B4-BE49-F238E27FC236}">
                <a16:creationId xmlns:a16="http://schemas.microsoft.com/office/drawing/2014/main" id="{C8220A01-7B51-A2AD-6F40-8CA96F68EE24}"/>
              </a:ext>
            </a:extLst>
          </p:cNvPr>
          <p:cNvGraphicFramePr>
            <a:graphicFrameLocks/>
          </p:cNvGraphicFramePr>
          <p:nvPr/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Placeholder 9">
            <a:extLst>
              <a:ext uri="{FF2B5EF4-FFF2-40B4-BE49-F238E27FC236}">
                <a16:creationId xmlns:a16="http://schemas.microsoft.com/office/drawing/2014/main" id="{2EE36D23-EFA2-1E12-FABA-E082D8BE1A51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39909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Area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6</cp:revision>
  <dcterms:created xsi:type="dcterms:W3CDTF">2025-07-09T10:57:17Z</dcterms:created>
  <dcterms:modified xsi:type="dcterms:W3CDTF">2025-10-22T10:05:21Z</dcterms:modified>
  <cp:category/>
</cp:coreProperties>
</file>